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4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6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7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8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23"/>
  </p:notesMasterIdLst>
  <p:sldIdLst>
    <p:sldId id="257" r:id="rId2"/>
    <p:sldId id="258" r:id="rId3"/>
    <p:sldId id="269" r:id="rId4"/>
    <p:sldId id="260" r:id="rId5"/>
    <p:sldId id="263" r:id="rId6"/>
    <p:sldId id="264" r:id="rId7"/>
    <p:sldId id="272" r:id="rId8"/>
    <p:sldId id="273" r:id="rId9"/>
    <p:sldId id="266" r:id="rId10"/>
    <p:sldId id="267" r:id="rId11"/>
    <p:sldId id="275" r:id="rId12"/>
    <p:sldId id="274" r:id="rId13"/>
    <p:sldId id="276" r:id="rId14"/>
    <p:sldId id="277" r:id="rId15"/>
    <p:sldId id="278" r:id="rId16"/>
    <p:sldId id="280" r:id="rId17"/>
    <p:sldId id="282" r:id="rId18"/>
    <p:sldId id="281" r:id="rId19"/>
    <p:sldId id="268" r:id="rId20"/>
    <p:sldId id="283" r:id="rId21"/>
    <p:sldId id="261" r:id="rId22"/>
  </p:sldIdLst>
  <p:sldSz cx="9144000" cy="6858000" type="screen4x3"/>
  <p:notesSz cx="6858000" cy="9144000"/>
  <p:embeddedFontLst>
    <p:embeddedFont>
      <p:font typeface="Cooper Black" panose="0208090404030B020404" pitchFamily="18" charset="0"/>
      <p:regular r:id="rId24"/>
    </p:embeddedFont>
    <p:embeddedFont>
      <p:font typeface="나눔스퀘어라운드 ExtraBold" panose="020B0600000101010101" pitchFamily="50" charset="-127"/>
      <p:bold r:id="rId25"/>
    </p:embeddedFont>
    <p:embeddedFont>
      <p:font typeface="맑은 고딕" panose="020B0503020000020004" pitchFamily="50" charset="-127"/>
      <p:regular r:id="rId26"/>
      <p:bold r:id="rId27"/>
    </p:embeddedFont>
    <p:embeddedFont>
      <p:font typeface="배달의민족 연성" panose="020B0600000101010101" pitchFamily="50" charset="-127"/>
      <p:regular r:id="rId28"/>
    </p:embeddedFont>
  </p:embeddedFontLst>
  <p:custDataLst>
    <p:tags r:id="rId29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66330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94660"/>
  </p:normalViewPr>
  <p:slideViewPr>
    <p:cSldViewPr>
      <p:cViewPr varScale="1">
        <p:scale>
          <a:sx n="104" d="100"/>
          <a:sy n="104" d="100"/>
        </p:scale>
        <p:origin x="1878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4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3E895-86B4-46AB-ACD4-C3C20751C212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E0E20-303F-461F-8602-976D1F22D2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9016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/>
              <a:t>TOMEK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 err="1"/>
              <a:t>EasyEnsemble</a:t>
            </a:r>
            <a:r>
              <a:rPr lang="en-US" altLang="ko-KR" dirty="0"/>
              <a:t> : </a:t>
            </a:r>
            <a:r>
              <a:rPr lang="ko-KR" altLang="en-US" dirty="0"/>
              <a:t>기존 데이터셋보다 점수 </a:t>
            </a:r>
            <a:r>
              <a:rPr lang="ko-KR" altLang="en-US" dirty="0" err="1"/>
              <a:t>내려감</a:t>
            </a:r>
            <a:endParaRPr lang="ko-KR" altLang="en-US" dirty="0"/>
          </a:p>
          <a:p>
            <a:r>
              <a:rPr lang="en-US" altLang="ko-KR" dirty="0" err="1"/>
              <a:t>BalanceCascade</a:t>
            </a:r>
            <a:r>
              <a:rPr lang="en-US" altLang="ko-KR" dirty="0"/>
              <a:t> : </a:t>
            </a:r>
            <a:r>
              <a:rPr lang="ko-KR" altLang="en-US" dirty="0" err="1"/>
              <a:t>메모리에러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9864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:</a:t>
            </a:r>
            <a:r>
              <a:rPr lang="ko-KR" altLang="en-US" dirty="0"/>
              <a:t> </a:t>
            </a:r>
            <a:r>
              <a:rPr lang="en-US" altLang="ko-KR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ndom Over-Sampling,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단점</a:t>
            </a:r>
            <a:r>
              <a:rPr lang="en-US" altLang="ko-K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ko-KR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소수 클래스를 복사하기 때문에 과적합의 가능성이 있다</a:t>
            </a:r>
          </a:p>
          <a:p>
            <a:br>
              <a:rPr lang="ko-KR" altLang="en-US" dirty="0"/>
            </a:b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6294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서 우리가 </a:t>
            </a:r>
            <a:r>
              <a:rPr lang="ko-KR" altLang="en-US" dirty="0" err="1"/>
              <a:t>변수에대한</a:t>
            </a:r>
            <a:r>
              <a:rPr lang="ko-KR" altLang="en-US" dirty="0"/>
              <a:t> </a:t>
            </a:r>
            <a:r>
              <a:rPr lang="en-US" altLang="ko-KR" dirty="0" err="1"/>
              <a:t>ABTest</a:t>
            </a:r>
            <a:r>
              <a:rPr lang="ko-KR" altLang="en-US" dirty="0"/>
              <a:t>를 </a:t>
            </a:r>
            <a:r>
              <a:rPr lang="ko-KR" altLang="en-US" dirty="0" err="1"/>
              <a:t>진행할때</a:t>
            </a:r>
            <a:r>
              <a:rPr lang="ko-KR" altLang="en-US" dirty="0"/>
              <a:t> 브랜드이름</a:t>
            </a:r>
            <a:r>
              <a:rPr lang="en-US" altLang="ko-KR" dirty="0"/>
              <a:t>(</a:t>
            </a:r>
            <a:r>
              <a:rPr lang="en-US" altLang="ko-KR" dirty="0" err="1"/>
              <a:t>brd_nm</a:t>
            </a:r>
            <a:r>
              <a:rPr lang="en-US" altLang="ko-KR" dirty="0"/>
              <a:t>)</a:t>
            </a:r>
            <a:r>
              <a:rPr lang="ko-KR" altLang="en-US" dirty="0"/>
              <a:t>에 대한 변수중요도가 높았기 때문에 문자열 데이터를 가지고 성별을 예측해보면 </a:t>
            </a:r>
            <a:r>
              <a:rPr lang="ko-KR" altLang="en-US" dirty="0" err="1"/>
              <a:t>의미있는</a:t>
            </a:r>
            <a:r>
              <a:rPr lang="ko-KR" altLang="en-US" dirty="0"/>
              <a:t> 결과가 </a:t>
            </a:r>
            <a:r>
              <a:rPr lang="ko-KR" altLang="en-US" dirty="0" err="1"/>
              <a:t>나올것같아서</a:t>
            </a:r>
            <a:r>
              <a:rPr lang="ko-KR" altLang="en-US" dirty="0"/>
              <a:t> </a:t>
            </a:r>
            <a:r>
              <a:rPr lang="en-US" altLang="ko-KR" dirty="0"/>
              <a:t>word2vec</a:t>
            </a:r>
            <a:r>
              <a:rPr lang="ko-KR" altLang="en-US" dirty="0"/>
              <a:t>을 진행했지만 적은 </a:t>
            </a:r>
            <a:r>
              <a:rPr lang="ko-KR" altLang="en-US" dirty="0" err="1"/>
              <a:t>피쳐만</a:t>
            </a:r>
            <a:r>
              <a:rPr lang="ko-KR" altLang="en-US" dirty="0"/>
              <a:t> 가지고 예측하기엔 무리가 </a:t>
            </a:r>
            <a:r>
              <a:rPr lang="ko-KR" altLang="en-US" dirty="0" err="1"/>
              <a:t>잇엇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298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떄로는</a:t>
            </a:r>
            <a:r>
              <a:rPr lang="ko-KR" altLang="en-US" dirty="0"/>
              <a:t> </a:t>
            </a:r>
            <a:r>
              <a:rPr lang="ko-KR" altLang="en-US" dirty="0" err="1"/>
              <a:t>임벨하지</a:t>
            </a:r>
            <a:r>
              <a:rPr lang="ko-KR" altLang="en-US" dirty="0"/>
              <a:t> 않은 경우에 더 높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3941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103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65791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5881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5131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16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6108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7337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187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311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68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5878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41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30387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7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2102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9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Relationship Id="rId14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4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2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9.png"/><Relationship Id="rId2" Type="http://schemas.openxmlformats.org/officeDocument/2006/relationships/tags" Target="../tags/tag87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90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image" Target="../media/image4.pn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image" Target="../media/image1.emf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7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06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11.xml"/><Relationship Id="rId16" Type="http://schemas.microsoft.com/office/2007/relationships/hdphoto" Target="../media/hdphoto3.wdp"/><Relationship Id="rId1" Type="http://schemas.openxmlformats.org/officeDocument/2006/relationships/vmlDrawing" Target="../drawings/vmlDrawing14.vml"/><Relationship Id="rId6" Type="http://schemas.openxmlformats.org/officeDocument/2006/relationships/tags" Target="../tags/tag11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4.xml"/><Relationship Id="rId15" Type="http://schemas.openxmlformats.org/officeDocument/2006/relationships/image" Target="../media/image4.png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image" Target="../media/image1.emf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4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23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.emf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32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131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slideLayout" Target="../slideLayouts/slideLayout7.xml"/><Relationship Id="rId17" Type="http://schemas.microsoft.com/office/2007/relationships/hdphoto" Target="../media/hdphoto3.wdp"/><Relationship Id="rId2" Type="http://schemas.openxmlformats.org/officeDocument/2006/relationships/tags" Target="../tags/tag13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image" Target="../media/image1.emf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oleObject" Target="../embeddings/oleObject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image" Target="../media/image1.emf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4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0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149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55.xml"/><Relationship Id="rId21" Type="http://schemas.openxmlformats.org/officeDocument/2006/relationships/image" Target="../media/image4.png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microsoft.com/office/2007/relationships/hdphoto" Target="../media/hdphoto5.wdp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23" Type="http://schemas.openxmlformats.org/officeDocument/2006/relationships/image" Target="../media/image6.png"/><Relationship Id="rId10" Type="http://schemas.openxmlformats.org/officeDocument/2006/relationships/tags" Target="../tags/tag162.xml"/><Relationship Id="rId19" Type="http://schemas.openxmlformats.org/officeDocument/2006/relationships/oleObject" Target="../embeddings/oleObject3.bin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17" Type="http://schemas.microsoft.com/office/2007/relationships/hdphoto" Target="../media/hdphoto4.wdp"/><Relationship Id="rId2" Type="http://schemas.openxmlformats.org/officeDocument/2006/relationships/tags" Target="../tags/tag8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.xml"/><Relationship Id="rId15" Type="http://schemas.microsoft.com/office/2007/relationships/hdphoto" Target="../media/hdphoto3.wdp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1.emf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oleObject" Target="../embeddings/oleObject3.bin"/><Relationship Id="rId17" Type="http://schemas.microsoft.com/office/2007/relationships/hdphoto" Target="../media/hdphoto4.wdp"/><Relationship Id="rId2" Type="http://schemas.openxmlformats.org/officeDocument/2006/relationships/tags" Target="../tags/tag170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7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73.xml"/><Relationship Id="rId15" Type="http://schemas.microsoft.com/office/2007/relationships/hdphoto" Target="../media/hdphoto3.wdp"/><Relationship Id="rId10" Type="http://schemas.openxmlformats.org/officeDocument/2006/relationships/tags" Target="../tags/tag178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0.xml"/><Relationship Id="rId7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81.xml"/><Relationship Id="rId9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17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0.xml"/><Relationship Id="rId15" Type="http://schemas.microsoft.com/office/2007/relationships/hdphoto" Target="../media/hdphoto3.wdp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26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5" Type="http://schemas.microsoft.com/office/2007/relationships/hdphoto" Target="../media/hdphoto3.wdp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8.xml"/><Relationship Id="rId15" Type="http://schemas.microsoft.com/office/2007/relationships/hdphoto" Target="../media/hdphoto3.wdp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44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7.xml"/><Relationship Id="rId15" Type="http://schemas.microsoft.com/office/2007/relationships/hdphoto" Target="../media/hdphoto3.wdp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1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3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tags" Target="../tags/tag57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6.xml"/><Relationship Id="rId15" Type="http://schemas.microsoft.com/office/2007/relationships/hdphoto" Target="../media/hdphoto3.wdp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4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8.vml"/><Relationship Id="rId6" Type="http://schemas.openxmlformats.org/officeDocument/2006/relationships/tags" Target="../tags/tag66.xml"/><Relationship Id="rId11" Type="http://schemas.openxmlformats.org/officeDocument/2006/relationships/oleObject" Target="../embeddings/oleObject3.bin"/><Relationship Id="rId5" Type="http://schemas.openxmlformats.org/officeDocument/2006/relationships/tags" Target="../tags/tag6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oleObject" Target="../embeddings/oleObject3.bin"/><Relationship Id="rId18" Type="http://schemas.microsoft.com/office/2007/relationships/hdphoto" Target="../media/hdphoto5.wdp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6.png"/><Relationship Id="rId2" Type="http://schemas.openxmlformats.org/officeDocument/2006/relationships/tags" Target="../tags/tag70.xml"/><Relationship Id="rId16" Type="http://schemas.microsoft.com/office/2007/relationships/hdphoto" Target="../media/hdphoto3.wdp"/><Relationship Id="rId1" Type="http://schemas.openxmlformats.org/officeDocument/2006/relationships/vmlDrawing" Target="../drawings/vmlDrawing9.vml"/><Relationship Id="rId6" Type="http://schemas.openxmlformats.org/officeDocument/2006/relationships/tags" Target="../tags/tag74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73.xml"/><Relationship Id="rId15" Type="http://schemas.openxmlformats.org/officeDocument/2006/relationships/image" Target="../media/image4.png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841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3835158" y="2714715"/>
            <a:ext cx="1350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유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(</a:t>
            </a:r>
            <a:r>
              <a:rPr lang="ko-KR" altLang="en-US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나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)</a:t>
            </a:r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종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(</a:t>
            </a:r>
            <a:r>
              <a:rPr lang="ko-KR" altLang="en-US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언</a:t>
            </a:r>
            <a:r>
              <a:rPr lang="en-US" altLang="ko-KR" sz="1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)</a:t>
            </a:r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의 </a:t>
            </a:r>
            <a:r>
              <a:rPr lang="ko-KR" altLang="en-US" sz="2000" dirty="0">
                <a:solidFill>
                  <a:srgbClr val="FFCC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美</a:t>
            </a: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2068749" y="1715921"/>
            <a:ext cx="50064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latin typeface="나눔스퀘어라운드 ExtraBold" pitchFamily="50" charset="-127"/>
                <a:ea typeface="나눔스퀘어라운드 ExtraBold" pitchFamily="50" charset="-127"/>
              </a:rPr>
              <a:t>Data Mining Final Round</a:t>
            </a:r>
            <a:endParaRPr lang="ko-KR" altLang="en-US" sz="32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27241" b="62214" l="6250" r="94219">
                        <a14:foregroundMark x1="74219" y1="42794" x2="74219" y2="42794"/>
                        <a14:foregroundMark x1="84063" y1="50088" x2="83438" y2="50439"/>
                        <a14:foregroundMark x1="88125" y1="44025" x2="88125" y2="44025"/>
                        <a14:foregroundMark x1="87031" y1="56942" x2="87031" y2="56942"/>
                        <a14:foregroundMark x1="77188" y1="59315" x2="77188" y2="59315"/>
                        <a14:foregroundMark x1="72969" y1="35237" x2="72969" y2="35237"/>
                        <a14:foregroundMark x1="62813" y1="38489" x2="62813" y2="38489"/>
                        <a14:foregroundMark x1="53438" y1="31019" x2="53438" y2="31019"/>
                        <a14:foregroundMark x1="47031" y1="37346" x2="47031" y2="37346"/>
                        <a14:foregroundMark x1="35938" y1="35589" x2="35938" y2="35589"/>
                        <a14:foregroundMark x1="32813" y1="45167" x2="32813" y2="45167"/>
                        <a14:foregroundMark x1="19531" y1="43234" x2="19531" y2="43234"/>
                        <a14:foregroundMark x1="15000" y1="49209" x2="15000" y2="49209"/>
                        <a14:foregroundMark x1="15625" y1="57469" x2="15625" y2="57469"/>
                        <a14:foregroundMark x1="24531" y1="60457" x2="24531" y2="60457"/>
                        <a14:backgroundMark x1="47656" y1="55448" x2="47656" y2="55448"/>
                        <a14:backgroundMark x1="31719" y1="51318" x2="31719" y2="51318"/>
                        <a14:backgroundMark x1="56563" y1="52460" x2="55469" y2="53076"/>
                        <a14:backgroundMark x1="68594" y1="52197" x2="68594" y2="52197"/>
                        <a14:backgroundMark x1="53438" y1="60457" x2="53438" y2="60457"/>
                        <a14:backgroundMark x1="35938" y1="56327" x2="35938" y2="56327"/>
                        <a14:backgroundMark x1="52188" y1="47364" x2="52188" y2="47364"/>
                        <a14:backgroundMark x1="42500" y1="45431" x2="42500" y2="45431"/>
                        <a14:backgroundMark x1="32813" y1="51933" x2="32813" y2="51933"/>
                        <a14:backgroundMark x1="42500" y1="52460" x2="42500" y2="52460"/>
                        <a14:backgroundMark x1="53906" y1="50439" x2="53906" y2="50439"/>
                        <a14:backgroundMark x1="62656" y1="50264" x2="62656" y2="50264"/>
                        <a14:backgroundMark x1="57656" y1="47276" x2="57656" y2="47276"/>
                        <a14:backgroundMark x1="59688" y1="55185" x2="59688" y2="55185"/>
                        <a14:backgroundMark x1="53438" y1="54833" x2="53438" y2="54833"/>
                        <a14:backgroundMark x1="50781" y1="56854" x2="50781" y2="56854"/>
                        <a14:backgroundMark x1="46094" y1="58963" x2="46094" y2="58963"/>
                        <a14:backgroundMark x1="41406" y1="53076" x2="41406" y2="53076"/>
                        <a14:backgroundMark x1="42656" y1="48770" x2="42656" y2="48770"/>
                        <a14:backgroundMark x1="35781" y1="51845" x2="35781" y2="51845"/>
                        <a14:backgroundMark x1="39375" y1="47803" x2="39375" y2="47803"/>
                        <a14:backgroundMark x1="48529" y1="43893" x2="48529" y2="44812"/>
                        <a14:backgroundMark x1="70261" y1="54545" x2="70261" y2="54545"/>
                        <a14:backgroundMark x1="67157" y1="55647" x2="66176" y2="55831"/>
                        <a14:backgroundMark x1="70588" y1="51331" x2="70588" y2="51331"/>
                        <a14:backgroundMark x1="68137" y1="57759" x2="68137" y2="577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042" t="27657" r="5835" b="37375"/>
          <a:stretch/>
        </p:blipFill>
        <p:spPr>
          <a:xfrm>
            <a:off x="3455392" y="3354757"/>
            <a:ext cx="2245200" cy="1584176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832" b="96008" l="4399" r="97654">
                        <a14:foregroundMark x1="41056" y1="29202" x2="41056" y2="29202"/>
                        <a14:foregroundMark x1="63930" y1="23109" x2="63930" y2="23109"/>
                        <a14:foregroundMark x1="53666" y1="22479" x2="53666" y2="22479"/>
                        <a14:foregroundMark x1="85630" y1="78782" x2="85630" y2="78782"/>
                        <a14:foregroundMark x1="75953" y1="79412" x2="75953" y2="79412"/>
                        <a14:foregroundMark x1="48974" y1="93908" x2="48974" y2="93908"/>
                        <a14:foregroundMark x1="55718" y1="94328" x2="55718" y2="94328"/>
                        <a14:foregroundMark x1="80059" y1="38866" x2="80059" y2="38866"/>
                        <a14:foregroundMark x1="80059" y1="79202" x2="80059" y2="79202"/>
                        <a14:foregroundMark x1="82727" y1="17787" x2="82727" y2="17787"/>
                        <a14:foregroundMark x1="73939" y1="14317" x2="73939" y2="14317"/>
                        <a14:foregroundMark x1="87273" y1="21909" x2="87273" y2="21909"/>
                        <a14:foregroundMark x1="89697" y1="27766" x2="89697" y2="27766"/>
                        <a14:foregroundMark x1="70303" y1="14317" x2="70303" y2="14317"/>
                        <a14:foregroundMark x1="76970" y1="13883" x2="76970" y2="13883"/>
                        <a14:foregroundMark x1="83333" y1="16486" x2="83333" y2="16486"/>
                        <a14:foregroundMark x1="86364" y1="20607" x2="86364" y2="206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391" y="3861048"/>
            <a:ext cx="1375817" cy="192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52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526965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429EEC01-92DE-4202-A400-6538A19F22AD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3331" r="1963"/>
          <a:stretch/>
        </p:blipFill>
        <p:spPr>
          <a:xfrm>
            <a:off x="1331640" y="4304691"/>
            <a:ext cx="6646800" cy="19082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9A700FF-4636-493D-8BBD-5D5250D4501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600" y="2174087"/>
            <a:ext cx="38884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SMOTE         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</a:t>
            </a: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FD426BC6-CF48-4AFC-944B-F1F3DFFF7D6E}"/>
              </a:ext>
            </a:extLst>
          </p:cNvPr>
          <p:cNvGrpSpPr/>
          <p:nvPr/>
        </p:nvGrpSpPr>
        <p:grpSpPr>
          <a:xfrm>
            <a:off x="3395468" y="1983785"/>
            <a:ext cx="4152250" cy="2083940"/>
            <a:chOff x="3402495" y="2029136"/>
            <a:chExt cx="4152250" cy="2083940"/>
          </a:xfrm>
        </p:grpSpPr>
        <p:pic>
          <p:nvPicPr>
            <p:cNvPr id="2" name="그림 1">
              <a:extLst>
                <a:ext uri="{FF2B5EF4-FFF2-40B4-BE49-F238E27FC236}">
                  <a16:creationId xmlns:a16="http://schemas.microsoft.com/office/drawing/2014/main" id="{382958FB-6F03-41A7-B776-D8AD9632EE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11647" b="18450"/>
            <a:stretch/>
          </p:blipFill>
          <p:spPr>
            <a:xfrm>
              <a:off x="3419872" y="2049995"/>
              <a:ext cx="4104456" cy="2063081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5BE6A36-C028-400C-8CB5-9D14B199A89B}"/>
                </a:ext>
              </a:extLst>
            </p:cNvPr>
            <p:cNvSpPr txBox="1"/>
            <p:nvPr/>
          </p:nvSpPr>
          <p:spPr>
            <a:xfrm>
              <a:off x="3402495" y="2029136"/>
              <a:ext cx="4152250" cy="2062103"/>
            </a:xfrm>
            <a:prstGeom prst="rect">
              <a:avLst/>
            </a:prstGeom>
            <a:noFill/>
            <a:ln w="38100">
              <a:solidFill>
                <a:srgbClr val="FFCC00"/>
              </a:solidFill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F1E171C-E0B4-4D89-9EEE-9E4FDE5DE916}"/>
              </a:ext>
            </a:extLst>
          </p:cNvPr>
          <p:cNvSpPr txBox="1"/>
          <p:nvPr/>
        </p:nvSpPr>
        <p:spPr>
          <a:xfrm>
            <a:off x="1318666" y="4268153"/>
            <a:ext cx="6659773" cy="1908212"/>
          </a:xfrm>
          <a:prstGeom prst="rect">
            <a:avLst/>
          </a:prstGeom>
          <a:noFill/>
          <a:ln w="38100">
            <a:solidFill>
              <a:srgbClr val="FFCC00"/>
            </a:solidFill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56611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 안함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                                                                                                                   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72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250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9094411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237946" y="2785602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9 :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수치형 데이터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ex,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평균구매액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내점일수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가지고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oly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-&gt; 0. 63513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0 :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원핫인코딩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들 가지고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word2vec 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442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381186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6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99592" y="2373860"/>
            <a:ext cx="756084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: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조의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+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중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선출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1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Private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SMOTE         :  0.70598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816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0.71711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08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0D4381-9B13-4647-A63A-FBD12ED632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9606" y="5085737"/>
            <a:ext cx="7560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Imbalanced X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2706 </a:t>
            </a:r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0.71706</a:t>
            </a:r>
          </a:p>
        </p:txBody>
      </p:sp>
    </p:spTree>
    <p:extLst>
      <p:ext uri="{BB962C8B-B14F-4D97-AF65-F5344CB8AC3E}">
        <p14:creationId xmlns:p14="http://schemas.microsoft.com/office/powerpoint/2010/main" val="2043638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71600" y="2348880"/>
            <a:ext cx="72008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016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168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627671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16199267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2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7577972E-0E13-4F8F-A93A-9EB699156791}"/>
              </a:ext>
            </a:extLst>
          </p:cNvPr>
          <p:cNvGrpSpPr/>
          <p:nvPr/>
        </p:nvGrpSpPr>
        <p:grpSpPr>
          <a:xfrm>
            <a:off x="1043608" y="4653136"/>
            <a:ext cx="5454968" cy="504056"/>
            <a:chOff x="1043608" y="4653136"/>
            <a:chExt cx="5454968" cy="50405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F680F6D-3FCA-4442-AF17-4355F2AD0C5A}"/>
                </a:ext>
              </a:extLst>
            </p:cNvPr>
            <p:cNvSpPr txBox="1"/>
            <p:nvPr/>
          </p:nvSpPr>
          <p:spPr>
            <a:xfrm>
              <a:off x="1043608" y="4653136"/>
              <a:ext cx="3076442" cy="504056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  <p:sp>
          <p:nvSpPr>
            <p:cNvPr id="3" name="화살표: 오른쪽 2">
              <a:extLst>
                <a:ext uri="{FF2B5EF4-FFF2-40B4-BE49-F238E27FC236}">
                  <a16:creationId xmlns:a16="http://schemas.microsoft.com/office/drawing/2014/main" id="{E1FE51E3-3415-4A12-99B2-C08CCDCDC278}"/>
                </a:ext>
              </a:extLst>
            </p:cNvPr>
            <p:cNvSpPr/>
            <p:nvPr/>
          </p:nvSpPr>
          <p:spPr>
            <a:xfrm>
              <a:off x="4324702" y="4761148"/>
              <a:ext cx="504056" cy="288032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85A1EA5-B156-413E-912C-9EF458EE113C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990787" y="4695527"/>
              <a:ext cx="150778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400" dirty="0">
                  <a:solidFill>
                    <a:srgbClr val="FFCC0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0.72838</a:t>
              </a:r>
              <a:endPara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DA579EF-6D2B-46C0-9272-E1EAB1A25F9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275856" y="954395"/>
            <a:ext cx="5400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 앙상블한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들간의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유사도가 높아서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 했을 때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히려 값이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않좋구나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”</a:t>
            </a:r>
            <a:endParaRPr lang="en-US" altLang="ko-KR" sz="32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25294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7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1974029"/>
            <a:ext cx="72008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“Power mean (</a:t>
            </a:r>
            <a:r>
              <a:rPr lang="ko-KR" altLang="en-US" sz="3200" dirty="0" err="1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멱평균</a:t>
            </a:r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”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앞장의 앙상블한 데이터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3282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461</a:t>
            </a:r>
          </a:p>
          <a:p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최적의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를 </a:t>
            </a:r>
            <a:r>
              <a:rPr lang="ko-KR" altLang="en-US" sz="16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찾기위해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상하로 조정하였으나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교수님이 주신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56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 최고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3792433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981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과정 정리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C5A80BAC-7E27-4A71-B315-512671444841}"/>
              </a:ext>
            </a:extLst>
          </p:cNvPr>
          <p:cNvGrpSpPr/>
          <p:nvPr/>
        </p:nvGrpSpPr>
        <p:grpSpPr>
          <a:xfrm>
            <a:off x="1051896" y="2135414"/>
            <a:ext cx="7032198" cy="3700435"/>
            <a:chOff x="1144206" y="2327455"/>
            <a:chExt cx="7032198" cy="3700435"/>
          </a:xfrm>
        </p:grpSpPr>
        <p:sp>
          <p:nvSpPr>
            <p:cNvPr id="27" name="TextBox 26"/>
            <p:cNvSpPr txBox="1"/>
            <p:nvPr>
              <p:custDataLst>
                <p:tags r:id="rId10"/>
              </p:custDataLst>
            </p:nvPr>
          </p:nvSpPr>
          <p:spPr>
            <a:xfrm>
              <a:off x="1260581" y="2327455"/>
              <a:ext cx="12241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Data se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0149F2-5A0D-46C6-A3C3-3EC146D4C199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936006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Imbalanced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DA88E69-B08E-49D4-84C4-6D8BA7B7FEF7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740168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Model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F3949A3-B166-474D-8DBF-2A75A4CAB87B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6450085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Ensemble</a:t>
              </a:r>
            </a:p>
          </p:txBody>
        </p:sp>
        <p:sp>
          <p:nvSpPr>
            <p:cNvPr id="17" name="모서리가 둥근 직사각형 25">
              <a:extLst>
                <a:ext uri="{FF2B5EF4-FFF2-40B4-BE49-F238E27FC236}">
                  <a16:creationId xmlns:a16="http://schemas.microsoft.com/office/drawing/2014/main" id="{C27E92FC-2979-4BF2-A651-DB1EAC1376A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144206" y="2851412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2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18" name="모서리가 둥근 직사각형 25">
              <a:extLst>
                <a:ext uri="{FF2B5EF4-FFF2-40B4-BE49-F238E27FC236}">
                  <a16:creationId xmlns:a16="http://schemas.microsoft.com/office/drawing/2014/main" id="{ED7CBEDB-6A4D-49FF-A97C-C10385A8DFF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932352" y="2851412"/>
              <a:ext cx="1543522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</a:t>
              </a:r>
            </a:p>
            <a:p>
              <a:pPr algn="ctr"/>
              <a:endParaRPr lang="en-US" altLang="ko-KR" sz="20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TomekLink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sz="24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SMOTE</a:t>
              </a:r>
            </a:p>
          </p:txBody>
        </p:sp>
        <p:sp>
          <p:nvSpPr>
            <p:cNvPr id="19" name="모서리가 둥근 직사각형 25">
              <a:extLst>
                <a:ext uri="{FF2B5EF4-FFF2-40B4-BE49-F238E27FC236}">
                  <a16:creationId xmlns:a16="http://schemas.microsoft.com/office/drawing/2014/main" id="{22EE24AF-33E8-407B-A609-7B684991EE6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729836" y="2844196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GB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LightGBM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BM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NN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CN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20" name="모서리가 둥근 직사각형 25">
              <a:extLst>
                <a:ext uri="{FF2B5EF4-FFF2-40B4-BE49-F238E27FC236}">
                  <a16:creationId xmlns:a16="http://schemas.microsoft.com/office/drawing/2014/main" id="{513C74B9-63A0-4739-8A96-2DD242138482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6444207" y="2851412"/>
              <a:ext cx="1732197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mean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Voting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owermea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</p:grpSp>
      <p:pic>
        <p:nvPicPr>
          <p:cNvPr id="23" name="그림 22">
            <a:extLst>
              <a:ext uri="{FF2B5EF4-FFF2-40B4-BE49-F238E27FC236}">
                <a16:creationId xmlns:a16="http://schemas.microsoft.com/office/drawing/2014/main" id="{E28B8E7C-EC61-4C33-A777-21BCE06BE68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47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5927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710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사용한 모델</a:t>
            </a:r>
          </a:p>
        </p:txBody>
      </p:sp>
      <p:cxnSp>
        <p:nvCxnSpPr>
          <p:cNvPr id="19" name="직선 연결선 18"/>
          <p:cNvCxnSpPr/>
          <p:nvPr>
            <p:custDataLst>
              <p:tags r:id="rId5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모서리가 둥근 직사각형 21"/>
          <p:cNvSpPr/>
          <p:nvPr>
            <p:custDataLst>
              <p:tags r:id="rId6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0" name="직선 연결선 19"/>
          <p:cNvCxnSpPr/>
          <p:nvPr>
            <p:custDataLst>
              <p:tags r:id="rId7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9279" b="82953" l="24219" r="74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42" t="38868" r="23250" b="17784"/>
          <a:stretch/>
        </p:blipFill>
        <p:spPr>
          <a:xfrm>
            <a:off x="7596336" y="4909295"/>
            <a:ext cx="1337073" cy="194421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547664" y="2492896"/>
            <a:ext cx="1106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6633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XGB</a:t>
            </a:r>
            <a:endParaRPr lang="ko-KR" altLang="en-US" sz="3600" dirty="0">
              <a:solidFill>
                <a:srgbClr val="6633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606629" y="3616714"/>
            <a:ext cx="24737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ight GBM</a:t>
            </a:r>
            <a:endParaRPr lang="ko-KR" altLang="en-US" sz="36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5" name="TextBox 24"/>
          <p:cNvSpPr txBox="1"/>
          <p:nvPr>
            <p:custDataLst>
              <p:tags r:id="rId9"/>
            </p:custDataLst>
          </p:nvPr>
        </p:nvSpPr>
        <p:spPr>
          <a:xfrm>
            <a:off x="1601042" y="4753218"/>
            <a:ext cx="42347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radient Boosting</a:t>
            </a:r>
            <a:endParaRPr lang="ko-KR" altLang="en-US" sz="36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31A42A-B55F-43FC-A1C5-5FB6A42E51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9717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모델 선정</a:t>
            </a:r>
          </a:p>
        </p:txBody>
      </p:sp>
    </p:spTree>
    <p:extLst>
      <p:ext uri="{BB962C8B-B14F-4D97-AF65-F5344CB8AC3E}">
        <p14:creationId xmlns:p14="http://schemas.microsoft.com/office/powerpoint/2010/main" val="24731496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6880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 err="1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느낀점</a:t>
            </a:r>
            <a:endParaRPr lang="ko-KR" altLang="en-US" sz="2000" dirty="0">
              <a:latin typeface="배달의민족 연성" panose="020B0600000101010101" pitchFamily="50" charset="-127"/>
              <a:ea typeface="배달의민족 연성" panose="020B0600000101010101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37170F8-3B21-4A5F-8731-1864CB147A5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3542" y="2276872"/>
            <a:ext cx="756084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en-US" altLang="ko-KR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Feature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 대한 이해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가 중요함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Imbalnced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feature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선택 등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다양한 데이터셋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생성이 중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간 유사도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를 살펴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하는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것이 중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4.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든 과정에서 이루어진 </a:t>
            </a:r>
            <a:r>
              <a:rPr lang="en-US" altLang="ko-KR" sz="28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A/B Test</a:t>
            </a: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2453D0A8-076C-4E1F-B8F1-1707CA2294BB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9279" b="82953" l="24219" r="74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42" t="38868" r="23250" b="17784"/>
          <a:stretch/>
        </p:blipFill>
        <p:spPr>
          <a:xfrm>
            <a:off x="7446696" y="4885722"/>
            <a:ext cx="1337073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0384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89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3203848" y="3142944"/>
            <a:ext cx="400822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663300"/>
                </a:solidFill>
                <a:latin typeface="Cooper Black" pitchFamily="18" charset="0"/>
                <a:ea typeface="나눔스퀘어라운드 ExtraBold" pitchFamily="50" charset="-127"/>
              </a:rPr>
              <a:t>THANK YOU</a:t>
            </a:r>
          </a:p>
          <a:p>
            <a:pPr algn="ctr"/>
            <a:endParaRPr lang="en-US" altLang="ko-KR" sz="1000" dirty="0">
              <a:solidFill>
                <a:srgbClr val="663300"/>
              </a:solidFill>
              <a:latin typeface="Cooper Black" pitchFamily="18" charset="0"/>
              <a:ea typeface="나눔스퀘어라운드 ExtraBold" pitchFamily="50" charset="-127"/>
            </a:endParaRPr>
          </a:p>
          <a:p>
            <a:pPr algn="ctr"/>
            <a:r>
              <a:rPr lang="ko-KR" altLang="en-US" sz="1600" dirty="0">
                <a:solidFill>
                  <a:srgbClr val="6633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피드백은 살살 </a:t>
            </a:r>
            <a:r>
              <a:rPr lang="en-US" altLang="ko-KR" sz="1600" dirty="0">
                <a:solidFill>
                  <a:srgbClr val="663300"/>
                </a:solidFill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^^</a:t>
            </a:r>
            <a:endParaRPr lang="ko-KR" altLang="en-US" sz="1600" dirty="0">
              <a:solidFill>
                <a:srgbClr val="663300"/>
              </a:solidFill>
              <a:latin typeface="배달의민족 연성" panose="020B0600000101010101" pitchFamily="50" charset="-127"/>
              <a:ea typeface="배달의민족 연성" panose="020B0600000101010101" pitchFamily="50" charset="-127"/>
            </a:endParaRPr>
          </a:p>
        </p:txBody>
      </p:sp>
      <p:sp>
        <p:nvSpPr>
          <p:cNvPr id="18" name="직사각형 17"/>
          <p:cNvSpPr/>
          <p:nvPr>
            <p:custDataLst>
              <p:tags r:id="rId4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/>
          <p:cNvGrpSpPr/>
          <p:nvPr/>
        </p:nvGrpSpPr>
        <p:grpSpPr>
          <a:xfrm>
            <a:off x="2039612" y="2616213"/>
            <a:ext cx="1411763" cy="1214407"/>
            <a:chOff x="1018819" y="2745267"/>
            <a:chExt cx="1584473" cy="1362973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42954" b="76387" l="3200" r="47067">
                          <a14:backgroundMark x1="14800" y1="63793" x2="14800" y2="63793"/>
                          <a14:backgroundMark x1="13600" y1="63793" x2="13600" y2="63793"/>
                          <a14:backgroundMark x1="20800" y1="63943" x2="20800" y2="63943"/>
                          <a14:backgroundMark x1="14133" y1="64018" x2="14133" y2="64018"/>
                          <a14:backgroundMark x1="12933" y1="64018" x2="12933" y2="64018"/>
                          <a14:backgroundMark x1="10933" y1="63943" x2="11600" y2="63643"/>
                          <a14:backgroundMark x1="14133" y1="63493" x2="14133" y2="63493"/>
                          <a14:backgroundMark x1="16133" y1="63943" x2="16133" y2="63943"/>
                          <a14:backgroundMark x1="14533" y1="63118" x2="14533" y2="63118"/>
                          <a14:backgroundMark x1="11867" y1="63418" x2="11867" y2="63418"/>
                          <a14:backgroundMark x1="14267" y1="64393" x2="14933" y2="64543"/>
                          <a14:backgroundMark x1="17200" y1="63943" x2="17200" y2="6394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28" t="45541" r="51977" b="34585"/>
            <a:stretch/>
          </p:blipFill>
          <p:spPr>
            <a:xfrm>
              <a:off x="1018819" y="2745267"/>
              <a:ext cx="1584473" cy="1362973"/>
            </a:xfrm>
            <a:prstGeom prst="rect">
              <a:avLst/>
            </a:prstGeom>
          </p:spPr>
        </p:pic>
        <p:sp>
          <p:nvSpPr>
            <p:cNvPr id="5" name="타원 4"/>
            <p:cNvSpPr/>
            <p:nvPr/>
          </p:nvSpPr>
          <p:spPr>
            <a:xfrm>
              <a:off x="1259632" y="3872082"/>
              <a:ext cx="144016" cy="1751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608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255627" y="2050970"/>
            <a:ext cx="662473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라운드 이후 느낀 </a:t>
            </a:r>
            <a:r>
              <a:rPr lang="ko-KR" altLang="en-US" sz="28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문제점</a:t>
            </a:r>
            <a:endParaRPr lang="en-US" altLang="ko-KR" sz="28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셋이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수를 늘리는데 급급했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델 튜닝이 이뤄지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커널의 변수를 모두 활용하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buAutoNum type="arabicPeriod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에 대한 이해 완전치 못함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88661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5124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133666" y="3175519"/>
            <a:ext cx="6768752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1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2,3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가 만든 변수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”</a:t>
            </a:r>
          </a:p>
          <a:p>
            <a:pPr algn="ctr"/>
            <a:endParaRPr lang="en-US" altLang="ko-KR" sz="8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서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랜덤 중복 추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하여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의 데이터셋을 만듦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algn="ctr"/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bootstrap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방식 응용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07438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>
            <p:custDataLst>
              <p:tags r:id="rId6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cxnSp>
        <p:nvCxnSpPr>
          <p:cNvPr id="25" name="직선 연결선 24"/>
          <p:cNvCxnSpPr/>
          <p:nvPr>
            <p:custDataLst>
              <p:tags r:id="rId7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8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835696" y="2122275"/>
            <a:ext cx="568863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Private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  0.705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0300 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2   0.7068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990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3   0.69042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308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4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NN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</a:t>
            </a:r>
            <a:r>
              <a:rPr lang="ko-KR" altLang="en-US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한거라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제출 안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5   0.6859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122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6   0.684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825</a:t>
            </a: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778B04-FA6C-474D-BE39-3616B35571C2}"/>
              </a:ext>
            </a:extLst>
          </p:cNvPr>
          <p:cNvSpPr txBox="1"/>
          <p:nvPr/>
        </p:nvSpPr>
        <p:spPr>
          <a:xfrm>
            <a:off x="5292080" y="2636912"/>
            <a:ext cx="1728192" cy="57606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9A92F3-3A0C-4138-A1BD-1FFC17D9FEC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0743" y="2004801"/>
            <a:ext cx="27503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dirty="0" err="1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endParaRPr lang="en-US" altLang="ko-KR" sz="36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93973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835696" y="2345208"/>
            <a:ext cx="568863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가 무엇이길래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때도 느꼈던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Dummy PCA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와</a:t>
            </a:r>
            <a:r>
              <a:rPr lang="ko-KR" altLang="en-US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endParaRPr lang="en-US" altLang="ko-KR" sz="4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치우친 데이터 </a:t>
            </a:r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og</a:t>
            </a:r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 </a:t>
            </a:r>
            <a:r>
              <a:rPr lang="en-US" altLang="ko-KR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01D316-BDD5-41A3-A95F-392631F25B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033520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8014888-CD79-4A8E-9735-1A19C6C32DA5}"/>
              </a:ext>
            </a:extLst>
          </p:cNvPr>
          <p:cNvGrpSpPr/>
          <p:nvPr/>
        </p:nvGrpSpPr>
        <p:grpSpPr>
          <a:xfrm>
            <a:off x="2693926" y="22992"/>
            <a:ext cx="4815203" cy="6858000"/>
            <a:chOff x="2693926" y="22992"/>
            <a:chExt cx="4815203" cy="6858000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24C51AAB-2963-4A0D-9AD5-E80291A78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693926" y="22992"/>
              <a:ext cx="4026399" cy="6858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5C0764-7417-4920-BE39-5385D08AEAAF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5220072" y="168896"/>
              <a:ext cx="2289057" cy="707886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변수 하나하나 마다 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  <a:p>
              <a:r>
                <a:rPr lang="en-US" altLang="ko-KR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a/b Test </a:t>
              </a:r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진행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372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461854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497875" y="2835803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&amp; Pred8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기법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 Imbalanced data”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를 함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1. SMOTE  2.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사용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endParaRPr lang="en-US" altLang="ko-KR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2CC9C9-7560-487C-95DF-99CDE2995B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502471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nz3CAVyEOYQPNbVp1.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tCX0bB0iX6eAclbpX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dd4cXKIkGw6E0Gfrl.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Su8qdjOEuQQ9Lm9gd_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z.RZd0kmFz8esmVbMt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z.RZd0kmFz8esmVbM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ihYIOZYUe2Y4hUHbyn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tQGzeOUqtJMGyDo8o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PP2moH50iQ3NKSf3.k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7BZzUYU2qylWFqmvQ3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3</Words>
  <Application>Microsoft Office PowerPoint</Application>
  <PresentationFormat>화면 슬라이드 쇼(4:3)</PresentationFormat>
  <Paragraphs>234</Paragraphs>
  <Slides>21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28" baseType="lpstr">
      <vt:lpstr>나눔스퀘어라운드 ExtraBold</vt:lpstr>
      <vt:lpstr>맑은 고딕</vt:lpstr>
      <vt:lpstr>배달의민족 연성</vt:lpstr>
      <vt:lpstr>Cooper Black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17</cp:revision>
  <dcterms:created xsi:type="dcterms:W3CDTF">2019-03-19T07:58:16Z</dcterms:created>
  <dcterms:modified xsi:type="dcterms:W3CDTF">2019-06-03T05:32:24Z</dcterms:modified>
</cp:coreProperties>
</file>